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5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1E0F433-23FC-8654-58D1-7B4DF2E7D1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88860" y="3866701"/>
            <a:ext cx="8091397" cy="1715400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8822CF3-859B-F599-AB7F-9DA823AE46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8860" y="6057900"/>
            <a:ext cx="8091397" cy="438601"/>
          </a:xfrm>
        </p:spPr>
        <p:txBody>
          <a:bodyPr/>
          <a:lstStyle/>
          <a:p>
            <a:r>
              <a:rPr lang="en-US" dirty="0"/>
              <a:t>Dat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2EAEFB1-2788-9336-4B3F-4539E560814D}"/>
              </a:ext>
            </a:extLst>
          </p:cNvPr>
          <p:cNvSpPr/>
          <p:nvPr/>
        </p:nvSpPr>
        <p:spPr>
          <a:xfrm>
            <a:off x="1288861" y="1350960"/>
            <a:ext cx="5181602" cy="12017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 left aligned to title</a:t>
            </a:r>
          </a:p>
        </p:txBody>
      </p:sp>
    </p:spTree>
    <p:extLst>
      <p:ext uri="{BB962C8B-B14F-4D97-AF65-F5344CB8AC3E}">
        <p14:creationId xmlns:p14="http://schemas.microsoft.com/office/powerpoint/2010/main" val="4161846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72</TotalTime>
  <Words>9</Words>
  <Application>Microsoft Office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63</cp:revision>
  <dcterms:created xsi:type="dcterms:W3CDTF">2006-08-16T00:00:00Z</dcterms:created>
  <dcterms:modified xsi:type="dcterms:W3CDTF">2025-10-06T08:13:54Z</dcterms:modified>
  <cp:category/>
  <dc:identifier>DAGkDf5R9EM</dc:identifier>
</cp:coreProperties>
</file>